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10" r:id="rId2"/>
  </p:sldIdLst>
  <p:sldSz cx="18288000" cy="10287000"/>
  <p:notesSz cx="6858000" cy="9144000"/>
  <p:embeddedFontLst>
    <p:embeddedFont>
      <p:font typeface="Verdana" panose="020B060403050404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045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DCCC-3413-EBF7-D0C2-BC85FA67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0C03ACE-14ED-634E-094F-26B7A484C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03ACE-14ED-634E-094F-26B7A484C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B0515-08D4-EF9C-B163-67DDE9678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FCA20AE-C9BE-E849-3F0D-03B1F0DDB343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5AAD5C51-82D2-ACEA-3EDE-125EDAF58183}"/>
              </a:ext>
            </a:extLst>
          </p:cNvPr>
          <p:cNvCxnSpPr>
            <a:cxnSpLocks/>
          </p:cNvCxnSpPr>
          <p:nvPr/>
        </p:nvCxnSpPr>
        <p:spPr>
          <a:xfrm>
            <a:off x="908954" y="3457115"/>
            <a:ext cx="16735863" cy="0"/>
          </a:xfrm>
          <a:prstGeom prst="straightConnector1">
            <a:avLst/>
          </a:prstGeom>
          <a:ln w="127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C265A7D-3667-3EA7-C056-B6B00F9F568F}"/>
              </a:ext>
            </a:extLst>
          </p:cNvPr>
          <p:cNvCxnSpPr>
            <a:cxnSpLocks/>
          </p:cNvCxnSpPr>
          <p:nvPr/>
        </p:nvCxnSpPr>
        <p:spPr>
          <a:xfrm>
            <a:off x="908954" y="5461404"/>
            <a:ext cx="16735863" cy="0"/>
          </a:xfrm>
          <a:prstGeom prst="straightConnector1">
            <a:avLst/>
          </a:prstGeom>
          <a:ln w="127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BD9C2C2D-BB1E-9DA9-1541-4C98AE6BFF5D}"/>
              </a:ext>
            </a:extLst>
          </p:cNvPr>
          <p:cNvCxnSpPr>
            <a:cxnSpLocks/>
          </p:cNvCxnSpPr>
          <p:nvPr/>
        </p:nvCxnSpPr>
        <p:spPr>
          <a:xfrm>
            <a:off x="908954" y="7465695"/>
            <a:ext cx="16735863" cy="0"/>
          </a:xfrm>
          <a:prstGeom prst="straightConnector1">
            <a:avLst/>
          </a:prstGeom>
          <a:ln w="127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C44C7F79-AEE7-7E4A-2BD4-F0E89C436184}"/>
              </a:ext>
            </a:extLst>
          </p:cNvPr>
          <p:cNvSpPr>
            <a:spLocks/>
          </p:cNvSpPr>
          <p:nvPr/>
        </p:nvSpPr>
        <p:spPr>
          <a:xfrm>
            <a:off x="1909331" y="2250025"/>
            <a:ext cx="12255912" cy="37793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3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DE2D6D93-936D-6A83-4026-91B9A561EA4B}"/>
              </a:ext>
            </a:extLst>
          </p:cNvPr>
          <p:cNvSpPr/>
          <p:nvPr/>
        </p:nvSpPr>
        <p:spPr>
          <a:xfrm rot="5400000" flipH="1">
            <a:off x="916254" y="2023170"/>
            <a:ext cx="849000" cy="8636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48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1F1A3CE5-C66D-6680-67D4-E09B975A5BEF}"/>
              </a:ext>
            </a:extLst>
          </p:cNvPr>
          <p:cNvSpPr>
            <a:spLocks/>
          </p:cNvSpPr>
          <p:nvPr/>
        </p:nvSpPr>
        <p:spPr>
          <a:xfrm>
            <a:off x="1909331" y="4270295"/>
            <a:ext cx="12255912" cy="37793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3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F93EA55A-1075-44E1-3D8D-5203378C2C05}"/>
              </a:ext>
            </a:extLst>
          </p:cNvPr>
          <p:cNvSpPr/>
          <p:nvPr/>
        </p:nvSpPr>
        <p:spPr>
          <a:xfrm rot="5400000" flipH="1">
            <a:off x="916254" y="4027458"/>
            <a:ext cx="849000" cy="86360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48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D54EE1A2-8CD9-E888-627C-818FD2699C5E}"/>
              </a:ext>
            </a:extLst>
          </p:cNvPr>
          <p:cNvSpPr>
            <a:spLocks/>
          </p:cNvSpPr>
          <p:nvPr/>
        </p:nvSpPr>
        <p:spPr>
          <a:xfrm>
            <a:off x="1909331" y="6274582"/>
            <a:ext cx="12255912" cy="37793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3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70A48C71-B389-9AC8-0EBD-930CC318120A}"/>
              </a:ext>
            </a:extLst>
          </p:cNvPr>
          <p:cNvSpPr/>
          <p:nvPr/>
        </p:nvSpPr>
        <p:spPr>
          <a:xfrm rot="5400000" flipH="1">
            <a:off x="916254" y="6031748"/>
            <a:ext cx="849000" cy="8636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48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87E97E5A-F07D-C015-27F7-6FD207240534}"/>
              </a:ext>
            </a:extLst>
          </p:cNvPr>
          <p:cNvSpPr>
            <a:spLocks/>
          </p:cNvSpPr>
          <p:nvPr/>
        </p:nvSpPr>
        <p:spPr>
          <a:xfrm>
            <a:off x="1909331" y="8278877"/>
            <a:ext cx="12255912" cy="37793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3000">
                <a:solidFill>
                  <a:schemeClr val="tx1"/>
                </a:solidFill>
              </a:rPr>
              <a:t>Insert Text Here</a:t>
            </a:r>
            <a:endParaRPr lang="en-US" sz="3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A1334EC1-FCC7-AA09-C672-E11D1B636998}"/>
              </a:ext>
            </a:extLst>
          </p:cNvPr>
          <p:cNvSpPr/>
          <p:nvPr/>
        </p:nvSpPr>
        <p:spPr>
          <a:xfrm rot="5400000" flipH="1">
            <a:off x="916254" y="8036042"/>
            <a:ext cx="849000" cy="86360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48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F4AAD-6238-EDE7-8998-5D5F42FE6BCA}"/>
              </a:ext>
            </a:extLst>
          </p:cNvPr>
          <p:cNvSpPr txBox="1">
            <a:spLocks/>
          </p:cNvSpPr>
          <p:nvPr/>
        </p:nvSpPr>
        <p:spPr>
          <a:xfrm>
            <a:off x="1048205" y="2232498"/>
            <a:ext cx="585104" cy="4616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217"/>
              </a:spcBef>
              <a:spcAft>
                <a:spcPts val="987"/>
              </a:spcAft>
              <a:buSzPct val="100000"/>
            </a:pPr>
            <a:r>
              <a:rPr lang="en-US" sz="3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E8C7DB-600D-AC14-2965-70E1C7EF14E8}"/>
              </a:ext>
            </a:extLst>
          </p:cNvPr>
          <p:cNvSpPr txBox="1">
            <a:spLocks/>
          </p:cNvSpPr>
          <p:nvPr/>
        </p:nvSpPr>
        <p:spPr>
          <a:xfrm>
            <a:off x="1048205" y="4236786"/>
            <a:ext cx="585104" cy="4616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217"/>
              </a:spcBef>
              <a:spcAft>
                <a:spcPts val="987"/>
              </a:spcAft>
              <a:buSzPct val="100000"/>
            </a:pPr>
            <a:r>
              <a:rPr lang="en-US" sz="3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8A6660F-4A95-DD09-E28B-85D76E156696}"/>
              </a:ext>
            </a:extLst>
          </p:cNvPr>
          <p:cNvSpPr txBox="1">
            <a:spLocks/>
          </p:cNvSpPr>
          <p:nvPr/>
        </p:nvSpPr>
        <p:spPr>
          <a:xfrm>
            <a:off x="1048205" y="6241076"/>
            <a:ext cx="585104" cy="4616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217"/>
              </a:spcBef>
              <a:spcAft>
                <a:spcPts val="987"/>
              </a:spcAft>
              <a:buSzPct val="100000"/>
            </a:pPr>
            <a:r>
              <a:rPr lang="en-US" sz="3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E4837B-70AB-BA5E-12D3-0DCA157174B0}"/>
              </a:ext>
            </a:extLst>
          </p:cNvPr>
          <p:cNvSpPr txBox="1">
            <a:spLocks/>
          </p:cNvSpPr>
          <p:nvPr/>
        </p:nvSpPr>
        <p:spPr>
          <a:xfrm>
            <a:off x="1048205" y="8245370"/>
            <a:ext cx="585104" cy="4616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217"/>
              </a:spcBef>
              <a:spcAft>
                <a:spcPts val="987"/>
              </a:spcAft>
              <a:buSzPct val="100000"/>
            </a:pPr>
            <a:r>
              <a:rPr lang="en-US" sz="3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342731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1</TotalTime>
  <Words>18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rimson Pro</vt:lpstr>
      <vt:lpstr>Aptos</vt:lpstr>
      <vt:lpstr>Symbol</vt:lpstr>
      <vt:lpstr>Verdana</vt:lpstr>
      <vt:lpstr>Arial</vt:lpstr>
      <vt:lpstr>Custom Design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6</cp:revision>
  <dcterms:created xsi:type="dcterms:W3CDTF">2006-08-16T00:00:00Z</dcterms:created>
  <dcterms:modified xsi:type="dcterms:W3CDTF">2025-10-06T10:17:07Z</dcterms:modified>
  <cp:category/>
  <dc:identifier>DAGkDf5R9EM</dc:identifier>
</cp:coreProperties>
</file>